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2" r:id="rId1"/>
  </p:sldMasterIdLst>
  <p:notesMasterIdLst>
    <p:notesMasterId r:id="rId13"/>
  </p:notesMasterIdLst>
  <p:handoutMasterIdLst>
    <p:handoutMasterId r:id="rId14"/>
  </p:handoutMasterIdLst>
  <p:sldIdLst>
    <p:sldId id="257" r:id="rId2"/>
    <p:sldId id="534" r:id="rId3"/>
    <p:sldId id="539" r:id="rId4"/>
    <p:sldId id="535" r:id="rId5"/>
    <p:sldId id="527" r:id="rId6"/>
    <p:sldId id="538" r:id="rId7"/>
    <p:sldId id="540" r:id="rId8"/>
    <p:sldId id="542" r:id="rId9"/>
    <p:sldId id="545" r:id="rId10"/>
    <p:sldId id="544" r:id="rId11"/>
    <p:sldId id="547" r:id="rId12"/>
  </p:sldIdLst>
  <p:sldSz cx="9906000" cy="6858000" type="A4"/>
  <p:notesSz cx="6723063" cy="98536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00" userDrawn="1">
          <p15:clr>
            <a:srgbClr val="A4A3A4"/>
          </p15:clr>
        </p15:guide>
        <p15:guide id="2" pos="5910" userDrawn="1">
          <p15:clr>
            <a:srgbClr val="A4A3A4"/>
          </p15:clr>
        </p15:guide>
        <p15:guide id="3" pos="330" userDrawn="1">
          <p15:clr>
            <a:srgbClr val="A4A3A4"/>
          </p15:clr>
        </p15:guide>
        <p15:guide id="4" pos="1487" userDrawn="1">
          <p15:clr>
            <a:srgbClr val="A4A3A4"/>
          </p15:clr>
        </p15:guide>
        <p15:guide id="5" pos="3460" userDrawn="1">
          <p15:clr>
            <a:srgbClr val="A4A3A4"/>
          </p15:clr>
        </p15:guide>
        <p15:guide id="6" pos="3914" userDrawn="1">
          <p15:clr>
            <a:srgbClr val="A4A3A4"/>
          </p15:clr>
        </p15:guide>
        <p15:guide id="7" orient="horz" pos="754" userDrawn="1">
          <p15:clr>
            <a:srgbClr val="A4A3A4"/>
          </p15:clr>
        </p15:guide>
        <p15:guide id="8" orient="horz" pos="4110" userDrawn="1">
          <p15:clr>
            <a:srgbClr val="A4A3A4"/>
          </p15:clr>
        </p15:guide>
        <p15:guide id="9" pos="5637" userDrawn="1">
          <p15:clr>
            <a:srgbClr val="A4A3A4"/>
          </p15:clr>
        </p15:guide>
        <p15:guide id="10" orient="horz" pos="1071" userDrawn="1">
          <p15:clr>
            <a:srgbClr val="A4A3A4"/>
          </p15:clr>
        </p15:guide>
        <p15:guide id="11" orient="horz" pos="3974" userDrawn="1">
          <p15:clr>
            <a:srgbClr val="A4A3A4"/>
          </p15:clr>
        </p15:guide>
        <p15:guide id="12" orient="horz" pos="2772" userDrawn="1">
          <p15:clr>
            <a:srgbClr val="A4A3A4"/>
          </p15:clr>
        </p15:guide>
        <p15:guide id="13" orient="horz" pos="3612" userDrawn="1">
          <p15:clr>
            <a:srgbClr val="A4A3A4"/>
          </p15:clr>
        </p15:guide>
        <p15:guide id="14" orient="horz" pos="2931" userDrawn="1">
          <p15:clr>
            <a:srgbClr val="A4A3A4"/>
          </p15:clr>
        </p15:guide>
        <p15:guide id="15" orient="horz" pos="31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CC13"/>
    <a:srgbClr val="99CC00"/>
    <a:srgbClr val="003399"/>
    <a:srgbClr val="FFCC99"/>
    <a:srgbClr val="3A8A88"/>
    <a:srgbClr val="CC0000"/>
    <a:srgbClr val="ACC3DE"/>
    <a:srgbClr val="FF0000"/>
    <a:srgbClr val="BC0000"/>
    <a:srgbClr val="EB8A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641"/>
    <p:restoredTop sz="93813" autoAdjust="0"/>
  </p:normalViewPr>
  <p:slideViewPr>
    <p:cSldViewPr snapToGrid="0" snapToObjects="1" showGuides="1">
      <p:cViewPr>
        <p:scale>
          <a:sx n="90" d="100"/>
          <a:sy n="90" d="100"/>
        </p:scale>
        <p:origin x="-2574" y="-528"/>
      </p:cViewPr>
      <p:guideLst>
        <p:guide orient="horz" pos="300"/>
        <p:guide orient="horz" pos="754"/>
        <p:guide orient="horz" pos="4110"/>
        <p:guide orient="horz" pos="1071"/>
        <p:guide orient="horz" pos="3974"/>
        <p:guide orient="horz" pos="2772"/>
        <p:guide orient="horz" pos="3612"/>
        <p:guide orient="horz" pos="2931"/>
        <p:guide orient="horz" pos="3113"/>
        <p:guide pos="5910"/>
        <p:guide pos="330"/>
        <p:guide pos="1487"/>
        <p:guide pos="3460"/>
        <p:guide pos="3914"/>
        <p:guide pos="5637"/>
      </p:guideLst>
    </p:cSldViewPr>
  </p:slideViewPr>
  <p:outlineViewPr>
    <p:cViewPr>
      <p:scale>
        <a:sx n="33" d="100"/>
        <a:sy n="33" d="100"/>
      </p:scale>
      <p:origin x="0" y="-649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73" d="100"/>
          <a:sy n="73" d="100"/>
        </p:scale>
        <p:origin x="3560" y="192"/>
      </p:cViewPr>
      <p:guideLst>
        <p:guide orient="horz" pos="2854"/>
        <p:guide orient="horz" pos="3104"/>
        <p:guide pos="2132"/>
        <p:guide pos="21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2913851" cy="492996"/>
          </a:xfrm>
          <a:prstGeom prst="rect">
            <a:avLst/>
          </a:prstGeom>
        </p:spPr>
        <p:txBody>
          <a:bodyPr vert="horz" lIns="90442" tIns="45221" rIns="90442" bIns="4522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07643" y="0"/>
            <a:ext cx="2913851" cy="492996"/>
          </a:xfrm>
          <a:prstGeom prst="rect">
            <a:avLst/>
          </a:prstGeom>
        </p:spPr>
        <p:txBody>
          <a:bodyPr vert="horz" lIns="90442" tIns="45221" rIns="90442" bIns="45221" rtlCol="0"/>
          <a:lstStyle>
            <a:lvl1pPr algn="r">
              <a:defRPr sz="1200"/>
            </a:lvl1pPr>
          </a:lstStyle>
          <a:p>
            <a:fld id="{A8160174-C0BC-4C6F-86BD-D01E33B34392}" type="datetimeFigureOut">
              <a:rPr lang="ru-RU" smtClean="0"/>
              <a:t>14.03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9359042"/>
            <a:ext cx="2913851" cy="492996"/>
          </a:xfrm>
          <a:prstGeom prst="rect">
            <a:avLst/>
          </a:prstGeom>
        </p:spPr>
        <p:txBody>
          <a:bodyPr vert="horz" lIns="90442" tIns="45221" rIns="90442" bIns="4522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07643" y="9359042"/>
            <a:ext cx="2913851" cy="492996"/>
          </a:xfrm>
          <a:prstGeom prst="rect">
            <a:avLst/>
          </a:prstGeom>
        </p:spPr>
        <p:txBody>
          <a:bodyPr vert="horz" lIns="90442" tIns="45221" rIns="90442" bIns="45221" rtlCol="0" anchor="b"/>
          <a:lstStyle>
            <a:lvl1pPr algn="r">
              <a:defRPr sz="1200"/>
            </a:lvl1pPr>
          </a:lstStyle>
          <a:p>
            <a:fld id="{B4F412F4-253A-4574-9284-6944A675D9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34750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13325" cy="494392"/>
          </a:xfrm>
          <a:prstGeom prst="rect">
            <a:avLst/>
          </a:prstGeom>
        </p:spPr>
        <p:txBody>
          <a:bodyPr vert="horz" lIns="91257" tIns="45629" rIns="91257" bIns="4562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08183" y="3"/>
            <a:ext cx="2913325" cy="494392"/>
          </a:xfrm>
          <a:prstGeom prst="rect">
            <a:avLst/>
          </a:prstGeom>
        </p:spPr>
        <p:txBody>
          <a:bodyPr vert="horz" lIns="91257" tIns="45629" rIns="91257" bIns="45629" rtlCol="0"/>
          <a:lstStyle>
            <a:lvl1pPr algn="r">
              <a:defRPr sz="1200"/>
            </a:lvl1pPr>
          </a:lstStyle>
          <a:p>
            <a:fld id="{8EE19771-A914-A840-B83F-6CAAC1CA3326}" type="datetimeFigureOut">
              <a:rPr lang="ru-RU" smtClean="0"/>
              <a:t>14.03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62025" y="1231900"/>
            <a:ext cx="4799013" cy="3324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57" tIns="45629" rIns="91257" bIns="4562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2307" y="4742054"/>
            <a:ext cx="5378450" cy="3879858"/>
          </a:xfrm>
          <a:prstGeom prst="rect">
            <a:avLst/>
          </a:prstGeom>
        </p:spPr>
        <p:txBody>
          <a:bodyPr vert="horz" lIns="91257" tIns="45629" rIns="91257" bIns="45629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359224"/>
            <a:ext cx="2913325" cy="494390"/>
          </a:xfrm>
          <a:prstGeom prst="rect">
            <a:avLst/>
          </a:prstGeom>
        </p:spPr>
        <p:txBody>
          <a:bodyPr vert="horz" lIns="91257" tIns="45629" rIns="91257" bIns="4562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08183" y="9359224"/>
            <a:ext cx="2913325" cy="494390"/>
          </a:xfrm>
          <a:prstGeom prst="rect">
            <a:avLst/>
          </a:prstGeom>
        </p:spPr>
        <p:txBody>
          <a:bodyPr vert="horz" lIns="91257" tIns="45629" rIns="91257" bIns="45629" rtlCol="0" anchor="b"/>
          <a:lstStyle>
            <a:lvl1pPr algn="r">
              <a:defRPr sz="1200"/>
            </a:lvl1pPr>
          </a:lstStyle>
          <a:p>
            <a:fld id="{19F38663-7CAB-9942-9CBB-3FCCB3A721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178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F38663-7CAB-9942-9CBB-3FCCB3A721A9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1731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2025" y="1231900"/>
            <a:ext cx="4799013" cy="33242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D48E10-5483-4170-9DFB-931F6CCB3A0C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71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F38663-7CAB-9942-9CBB-3FCCB3A721A9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1731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2025" y="1231900"/>
            <a:ext cx="4799013" cy="33242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D48E10-5483-4170-9DFB-931F6CCB3A0C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71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2025" y="1231900"/>
            <a:ext cx="4799013" cy="33242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D48E10-5483-4170-9DFB-931F6CCB3A0C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71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2025" y="1231900"/>
            <a:ext cx="4799013" cy="33242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D48E10-5483-4170-9DFB-931F6CCB3A0C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71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2025" y="1231900"/>
            <a:ext cx="4799013" cy="33242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D48E10-5483-4170-9DFB-931F6CCB3A0C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71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2025" y="1231900"/>
            <a:ext cx="4799013" cy="33242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D48E10-5483-4170-9DFB-931F6CCB3A0C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7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2025" y="1231900"/>
            <a:ext cx="4799013" cy="33242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D48E10-5483-4170-9DFB-931F6CCB3A0C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71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2025" y="1231900"/>
            <a:ext cx="4799013" cy="33242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D48E10-5483-4170-9DFB-931F6CCB3A0C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71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2025" y="1231900"/>
            <a:ext cx="4799013" cy="33242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D48E10-5483-4170-9DFB-931F6CCB3A0C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7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FBC8B-DB37-BB4A-8F69-05D39AD413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58981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FBC8B-DB37-BB4A-8F69-05D39AD413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84137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US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FBC8B-DB37-BB4A-8F69-05D39AD413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6898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1" y="6360575"/>
            <a:ext cx="489601" cy="502715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660069" y="1718551"/>
            <a:ext cx="6859620" cy="1844608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3" y="6379275"/>
            <a:ext cx="8587561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3" y="6614570"/>
            <a:ext cx="8587561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31626" y="180106"/>
            <a:ext cx="7493112" cy="609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468659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0" y="958177"/>
            <a:ext cx="9906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95589" y="555275"/>
            <a:ext cx="5769811" cy="31099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6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3261" y="184652"/>
            <a:ext cx="2331805" cy="59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9321486" y="6453336"/>
            <a:ext cx="584515" cy="312145"/>
          </a:xfrm>
          <a:prstGeom prst="rect">
            <a:avLst/>
          </a:prstGeom>
          <a:noFill/>
        </p:spPr>
        <p:txBody>
          <a:bodyPr wrap="square" lIns="95779" tIns="47890" rIns="95779" bIns="47890" rtlCol="0">
            <a:spAutoFit/>
          </a:bodyPr>
          <a:lstStyle>
            <a:defPPr>
              <a:defRPr lang="ru-RU"/>
            </a:defPPr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l"/>
            <a:fld id="{91AD4EB0-CEB3-4892-90AA-400FF97E5AC3}" type="slidenum">
              <a:rPr lang="ru-RU" smtClean="0">
                <a:solidFill>
                  <a:srgbClr val="000000"/>
                </a:solidFill>
              </a:rPr>
              <a:pPr algn="l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372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FBC8B-DB37-BB4A-8F69-05D39AD413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99613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FBC8B-DB37-BB4A-8F69-05D39AD413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90184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FBC8B-DB37-BB4A-8F69-05D39AD413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81750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n-US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FBC8B-DB37-BB4A-8F69-05D39AD413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64780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FBC8B-DB37-BB4A-8F69-05D39AD413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11762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FBC8B-DB37-BB4A-8F69-05D39AD413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3377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FBC8B-DB37-BB4A-8F69-05D39AD413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94844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Чтобы добавить рисунок, перетащите его на заполнитель или щелкните значок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FBC8B-DB37-BB4A-8F69-05D39AD413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45449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DFBC8B-DB37-BB4A-8F69-05D39AD413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133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5" r:id="rId12"/>
    <p:sldLayoutId id="214748368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Изображение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04" b="14904"/>
          <a:stretch/>
        </p:blipFill>
        <p:spPr>
          <a:xfrm>
            <a:off x="-16329" y="-1"/>
            <a:ext cx="9922329" cy="6988630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413252" y="1874589"/>
            <a:ext cx="9492748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4800" b="1" dirty="0" smtClean="0">
                <a:solidFill>
                  <a:schemeClr val="bg1"/>
                </a:solidFill>
                <a:effectLst>
                  <a:outerShdw blurRad="50800" dist="76200" dir="2700000" algn="tl" rotWithShape="0">
                    <a:prstClr val="black">
                      <a:alpha val="40000"/>
                    </a:prstClr>
                  </a:outerShdw>
                </a:effectLst>
                <a:latin typeface="Century Gothic" charset="0"/>
                <a:ea typeface="Century Gothic" charset="0"/>
                <a:cs typeface="Century Gothic" charset="0"/>
              </a:rPr>
              <a:t>Программы </a:t>
            </a:r>
            <a:r>
              <a:rPr lang="ru-RU" sz="4800" b="1" dirty="0">
                <a:solidFill>
                  <a:schemeClr val="bg1"/>
                </a:solidFill>
                <a:effectLst>
                  <a:outerShdw blurRad="50800" dist="76200" dir="2700000" algn="tl" rotWithShape="0">
                    <a:prstClr val="black">
                      <a:alpha val="40000"/>
                    </a:prstClr>
                  </a:outerShdw>
                </a:effectLst>
                <a:latin typeface="Century Gothic" charset="0"/>
                <a:ea typeface="Century Gothic" charset="0"/>
                <a:cs typeface="Century Gothic" charset="0"/>
              </a:rPr>
              <a:t>льготного кредитования </a:t>
            </a:r>
            <a:r>
              <a:rPr lang="ru-RU" sz="4800" b="1" dirty="0" smtClean="0">
                <a:solidFill>
                  <a:schemeClr val="bg1"/>
                </a:solidFill>
                <a:effectLst>
                  <a:outerShdw blurRad="50800" dist="76200" dir="2700000" algn="tl" rotWithShape="0">
                    <a:prstClr val="black">
                      <a:alpha val="40000"/>
                    </a:prstClr>
                  </a:outerShdw>
                </a:effectLst>
                <a:latin typeface="Century Gothic" charset="0"/>
                <a:ea typeface="Century Gothic" charset="0"/>
                <a:cs typeface="Century Gothic" charset="0"/>
              </a:rPr>
              <a:t>клиентов</a:t>
            </a:r>
            <a:endParaRPr lang="de-DE" sz="4800" b="1" dirty="0" smtClean="0">
              <a:solidFill>
                <a:schemeClr val="bg1"/>
              </a:solidFill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13252" y="6140561"/>
            <a:ext cx="6768852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3200" b="1" dirty="0" smtClean="0">
                <a:solidFill>
                  <a:schemeClr val="bg1"/>
                </a:solidFill>
                <a:effectLst>
                  <a:outerShdw blurRad="50800" dist="76200" dir="2700000" algn="tl" rotWithShape="0">
                    <a:prstClr val="black">
                      <a:alpha val="40000"/>
                    </a:prstClr>
                  </a:outerShdw>
                </a:effectLst>
                <a:latin typeface="Century Gothic" charset="0"/>
                <a:ea typeface="Century Gothic" charset="0"/>
                <a:cs typeface="Century Gothic" charset="0"/>
              </a:rPr>
              <a:t>2019 </a:t>
            </a:r>
            <a:r>
              <a:rPr lang="ru-RU" sz="3200" b="1" dirty="0" smtClean="0">
                <a:solidFill>
                  <a:schemeClr val="bg1"/>
                </a:solidFill>
                <a:effectLst>
                  <a:outerShdw blurRad="50800" dist="76200" dir="2700000" algn="tl" rotWithShape="0">
                    <a:prstClr val="black">
                      <a:alpha val="40000"/>
                    </a:prstClr>
                  </a:outerShdw>
                </a:effectLst>
                <a:latin typeface="Century Gothic" charset="0"/>
                <a:ea typeface="Century Gothic" charset="0"/>
                <a:cs typeface="Century Gothic" charset="0"/>
              </a:rPr>
              <a:t>год</a:t>
            </a:r>
            <a:endParaRPr lang="de-DE" sz="3200" b="1" dirty="0">
              <a:solidFill>
                <a:schemeClr val="bg1"/>
              </a:solidFill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FBC8B-DB37-BB4A-8F69-05D39AD41320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5032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Группа 23"/>
          <p:cNvGrpSpPr/>
          <p:nvPr/>
        </p:nvGrpSpPr>
        <p:grpSpPr>
          <a:xfrm>
            <a:off x="106327" y="327744"/>
            <a:ext cx="9544002" cy="609397"/>
            <a:chOff x="70844" y="681116"/>
            <a:chExt cx="9650329" cy="305461"/>
          </a:xfrm>
        </p:grpSpPr>
        <p:cxnSp>
          <p:nvCxnSpPr>
            <p:cNvPr id="25" name="Прямая соединительная линия 24"/>
            <p:cNvCxnSpPr/>
            <p:nvPr/>
          </p:nvCxnSpPr>
          <p:spPr>
            <a:xfrm>
              <a:off x="552833" y="910716"/>
              <a:ext cx="523539" cy="0"/>
            </a:xfrm>
            <a:prstGeom prst="line">
              <a:avLst/>
            </a:prstGeom>
            <a:ln w="38100">
              <a:solidFill>
                <a:srgbClr val="F9D8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Заголовок 4"/>
            <p:cNvSpPr txBox="1">
              <a:spLocks/>
            </p:cNvSpPr>
            <p:nvPr/>
          </p:nvSpPr>
          <p:spPr bwMode="auto">
            <a:xfrm>
              <a:off x="70844" y="681116"/>
              <a:ext cx="9650329" cy="3054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rgbClr val="049536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16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Механизм гарантийной поддержки</a:t>
              </a:r>
              <a:endParaRPr lang="en-US" sz="1600" b="1" dirty="0">
                <a:solidFill>
                  <a:schemeClr val="accent5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  <a:p>
              <a:endParaRPr lang="ru-RU" sz="1400" b="1" i="1" dirty="0" smtClean="0">
                <a:solidFill>
                  <a:srgbClr val="329AC6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  <a:p>
              <a:endParaRPr lang="ru-RU" sz="1400" b="1" dirty="0">
                <a:solidFill>
                  <a:srgbClr val="329AC6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</p:grpSp>
      <p:sp>
        <p:nvSpPr>
          <p:cNvPr id="30" name="Номер слайда 3"/>
          <p:cNvSpPr txBox="1">
            <a:spLocks/>
          </p:cNvSpPr>
          <p:nvPr/>
        </p:nvSpPr>
        <p:spPr>
          <a:xfrm>
            <a:off x="7469012" y="6470158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BookC" charset="0"/>
                <a:ea typeface="FuturaBookC" charset="0"/>
                <a:cs typeface="FuturaBookC" charset="0"/>
              </a:rPr>
              <a:t>1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latin typeface="FuturaBookC" charset="0"/>
              <a:ea typeface="FuturaBookC" charset="0"/>
              <a:cs typeface="FuturaBookC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7898592"/>
              </p:ext>
            </p:extLst>
          </p:nvPr>
        </p:nvGraphicFramePr>
        <p:xfrm>
          <a:off x="106327" y="937141"/>
          <a:ext cx="9675626" cy="543176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23500"/>
                <a:gridCol w="7852126"/>
              </a:tblGrid>
              <a:tr h="68086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dirty="0" smtClean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Заемщик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endParaRPr lang="ru-RU" sz="1400" dirty="0" smtClean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Клиенты, относящиеся к субъектам МСП в соответствии с требованиями 209-ФЗ РФ.</a:t>
                      </a:r>
                      <a:r>
                        <a:rPr lang="ru-RU" sz="14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</a:tr>
              <a:tr h="120571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зависимая гарантия Корпораци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формленная в соответствии с требованиями действующего законодательства Российской Федерации независимая гарантия, в соответствии с которой Корпорация обязывается перед Банком/Организацией-партнером отвечать за исполнение субъектом МСП (Принципалом) его обязательств по кредитному договору/договору о</a:t>
                      </a:r>
                      <a:r>
                        <a:rPr lang="ru-RU" sz="14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доставлении банковской гаранти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9069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</a:t>
                      </a: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зависимой</a:t>
                      </a:r>
                      <a:r>
                        <a:rPr lang="ru-RU" sz="14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гаранти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 25 млн. руб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•До 50% суммы кредита (основной долг)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•До 70% от суммы гарантии исполнения контракта</a:t>
                      </a: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6081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независимой  гаранти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= Сроку кредита + 120 дней</a:t>
                      </a:r>
                      <a:endParaRPr lang="ru-RU" sz="1400" kern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120571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иссия за предоставление  независимой гаранти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indent="448310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0,75% от суммы независимой гарантии</a:t>
                      </a:r>
                      <a:r>
                        <a:rPr lang="ru-RU" sz="14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за каждый</a:t>
                      </a:r>
                      <a:r>
                        <a:rPr lang="ru-RU" sz="14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год действия гарантии.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244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ть предоставления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Приравнивается</a:t>
                      </a:r>
                      <a:r>
                        <a:rPr lang="ru-RU" sz="14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к имущественному обеспечению по кредитным обязательствам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41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9011" y="97244"/>
            <a:ext cx="2181318" cy="709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569792" y="785798"/>
            <a:ext cx="527748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8744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Изображение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04" b="14904"/>
          <a:stretch/>
        </p:blipFill>
        <p:spPr>
          <a:xfrm>
            <a:off x="-16330" y="-1"/>
            <a:ext cx="9922329" cy="6988630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781294" y="2533808"/>
            <a:ext cx="8443669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4800" b="1" dirty="0" smtClean="0">
                <a:solidFill>
                  <a:schemeClr val="bg1"/>
                </a:solidFill>
                <a:effectLst>
                  <a:outerShdw blurRad="50800" dist="76200" dir="2700000" algn="tl" rotWithShape="0">
                    <a:prstClr val="black">
                      <a:alpha val="40000"/>
                    </a:prstClr>
                  </a:outerShdw>
                </a:effectLst>
                <a:latin typeface="Century Gothic" charset="0"/>
                <a:ea typeface="Century Gothic" charset="0"/>
                <a:cs typeface="Century Gothic" charset="0"/>
              </a:rPr>
              <a:t>    </a:t>
            </a:r>
            <a:r>
              <a:rPr lang="ru-RU" sz="4800" b="1" dirty="0" smtClean="0">
                <a:solidFill>
                  <a:schemeClr val="bg1"/>
                </a:solidFill>
                <a:effectLst>
                  <a:outerShdw blurRad="50800" dist="76200" dir="2700000" algn="tl" rotWithShape="0">
                    <a:prstClr val="black">
                      <a:alpha val="40000"/>
                    </a:prstClr>
                  </a:outerShdw>
                </a:effectLst>
                <a:latin typeface="Century Gothic" charset="0"/>
                <a:ea typeface="Century Gothic" charset="0"/>
                <a:cs typeface="Century Gothic" charset="0"/>
              </a:rPr>
              <a:t>Спасибо </a:t>
            </a:r>
            <a:r>
              <a:rPr lang="ru-RU" sz="4800" b="1" dirty="0">
                <a:solidFill>
                  <a:schemeClr val="bg1"/>
                </a:solidFill>
                <a:effectLst>
                  <a:outerShdw blurRad="50800" dist="76200" dir="2700000" algn="tl" rotWithShape="0">
                    <a:prstClr val="black">
                      <a:alpha val="40000"/>
                    </a:prstClr>
                  </a:outerShdw>
                </a:effectLst>
                <a:latin typeface="Century Gothic" charset="0"/>
                <a:ea typeface="Century Gothic" charset="0"/>
                <a:cs typeface="Century Gothic" charset="0"/>
              </a:rPr>
              <a:t>за внимание!</a:t>
            </a:r>
          </a:p>
        </p:txBody>
      </p:sp>
      <p:pic>
        <p:nvPicPr>
          <p:cNvPr id="27" name="Изображение 26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5278" y="349971"/>
            <a:ext cx="2426353" cy="469441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DFBC8B-DB37-BB4A-8F69-05D39AD41320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2185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Группа 23"/>
          <p:cNvGrpSpPr/>
          <p:nvPr/>
        </p:nvGrpSpPr>
        <p:grpSpPr>
          <a:xfrm>
            <a:off x="111569" y="212652"/>
            <a:ext cx="7343066" cy="1191094"/>
            <a:chOff x="-2814757" y="721732"/>
            <a:chExt cx="9650324" cy="1191094"/>
          </a:xfrm>
        </p:grpSpPr>
        <p:cxnSp>
          <p:nvCxnSpPr>
            <p:cNvPr id="25" name="Прямая соединительная линия 24"/>
            <p:cNvCxnSpPr/>
            <p:nvPr/>
          </p:nvCxnSpPr>
          <p:spPr>
            <a:xfrm>
              <a:off x="-2814757" y="1732074"/>
              <a:ext cx="523539" cy="0"/>
            </a:xfrm>
            <a:prstGeom prst="line">
              <a:avLst/>
            </a:prstGeom>
            <a:ln w="38100">
              <a:solidFill>
                <a:srgbClr val="F9D8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Заголовок 4"/>
            <p:cNvSpPr txBox="1">
              <a:spLocks/>
            </p:cNvSpPr>
            <p:nvPr/>
          </p:nvSpPr>
          <p:spPr bwMode="auto">
            <a:xfrm>
              <a:off x="-2814757" y="721732"/>
              <a:ext cx="9650324" cy="1191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rgbClr val="049536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16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ПРОГРАММА 6,5</a:t>
              </a:r>
              <a:endParaRPr lang="ru-RU" sz="1400" b="1" dirty="0" smtClean="0">
                <a:solidFill>
                  <a:schemeClr val="accent5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  <a:p>
              <a:r>
                <a:rPr lang="ru-RU" sz="14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Программа стимулирования кредитования субъектов малого </a:t>
              </a:r>
            </a:p>
            <a:p>
              <a:r>
                <a:rPr lang="ru-RU" sz="14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и среднего предпринимательства, </a:t>
              </a:r>
            </a:p>
            <a:p>
              <a:r>
                <a:rPr lang="ru-RU" sz="14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утверждена решением Совета директоров АО «Корпорация «МСП» от 08.02.2017г.</a:t>
              </a:r>
              <a:endParaRPr lang="en-US" sz="1400" b="1" dirty="0" smtClean="0">
                <a:solidFill>
                  <a:schemeClr val="accent5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  <a:p>
              <a:endParaRPr lang="en-US" sz="1400" b="1" dirty="0" smtClean="0">
                <a:solidFill>
                  <a:schemeClr val="accent5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  <a:p>
              <a:endParaRPr lang="ru-RU" sz="1400" b="1" dirty="0">
                <a:solidFill>
                  <a:srgbClr val="329AC6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</p:grpSp>
      <p:sp>
        <p:nvSpPr>
          <p:cNvPr id="30" name="Номер слайда 3"/>
          <p:cNvSpPr txBox="1">
            <a:spLocks/>
          </p:cNvSpPr>
          <p:nvPr/>
        </p:nvSpPr>
        <p:spPr>
          <a:xfrm>
            <a:off x="7469012" y="6470158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BookC" charset="0"/>
                <a:ea typeface="FuturaBookC" charset="0"/>
                <a:cs typeface="FuturaBookC" charset="0"/>
              </a:rPr>
              <a:t>1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latin typeface="FuturaBookC" charset="0"/>
              <a:ea typeface="FuturaBookC" charset="0"/>
              <a:cs typeface="FuturaBookC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1544194"/>
              </p:ext>
            </p:extLst>
          </p:nvPr>
        </p:nvGraphicFramePr>
        <p:xfrm>
          <a:off x="111569" y="1318436"/>
          <a:ext cx="9691650" cy="516518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35238"/>
                <a:gridCol w="7856412"/>
              </a:tblGrid>
              <a:tr h="2330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Заемщики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Клиенты, относящиеся к субъектам МСП в соответствии с требованиями 209-ФЗ РФ.</a:t>
                      </a: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</a:tr>
              <a:tr h="44171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ь креди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Char char="-"/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вестиционные</a:t>
                      </a:r>
                    </a:p>
                    <a:p>
                      <a:pPr marL="171450" indent="-1714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Char char="-"/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полнение оборотных активов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4685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креди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 3 млн. рублей до 1 млрд рублей,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ксимальная 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определяется платежеспособностью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305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креди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едит может быть предоставлен на срок более 3-х лет, но срок льготного фондирования по Программе не должен превышать 3 года.</a:t>
                      </a:r>
                      <a:endParaRPr lang="ru-RU" sz="1200" kern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9636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центная ставк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indent="448310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,6% годовых - кредитные средства предоставляются на цели осуществления деятельности или на цели реализации инвестиционного проекта в одной или нескольких приоритетных отраслях экономики.</a:t>
                      </a:r>
                    </a:p>
                    <a:p>
                      <a:pPr indent="448310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,6% годовых - кредитные средства предоставляются на цели осуществления деятельности или на цели реализации инвестиционного проекта в иных отраслях экономики, не включенных в приоритетных отраслях экономики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65813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спечение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лог приобретаемого 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ущества.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ое имеющееся имущественное обеспечение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учительство собственников бизнеса, основных компаний Группы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65813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предоставлен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едит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возобновляемая кредитная линия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Возобновляемая кредитная линия (для оборотного кредитования)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4171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воначальный взнос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залоге приобретаемого 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ущества</a:t>
                      </a:r>
                      <a:r>
                        <a:rPr lang="ru-RU" sz="12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т 10% до 25%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логе иного имеющегося имущественного обеспечения первоначальный взнос не требуется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86968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Приоритетные отрасл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Сельское хозяйство;</a:t>
                      </a: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Обрабатывающее производство;</a:t>
                      </a: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Производство и распределение электроэнергии, газа и воды;  Строительство, в  том числе в рамках развития внутреннего туризма; Транспорт и связь; Деятельность в области здравоохранения; Сбор, обработка и утилизация отходов, в том числе отсортированных материалов, а также переработка металлических и неметаллических отходов, мусора и прочих предметов во вторичное сырье.</a:t>
                      </a: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41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9012" y="212652"/>
            <a:ext cx="2181318" cy="709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46879" y="1222994"/>
            <a:ext cx="527748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9669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Группа 23"/>
          <p:cNvGrpSpPr/>
          <p:nvPr/>
        </p:nvGrpSpPr>
        <p:grpSpPr>
          <a:xfrm>
            <a:off x="106327" y="97154"/>
            <a:ext cx="9591535" cy="686577"/>
            <a:chOff x="552833" y="40596"/>
            <a:chExt cx="9515044" cy="870120"/>
          </a:xfrm>
        </p:grpSpPr>
        <p:cxnSp>
          <p:nvCxnSpPr>
            <p:cNvPr id="25" name="Прямая соединительная линия 24"/>
            <p:cNvCxnSpPr/>
            <p:nvPr/>
          </p:nvCxnSpPr>
          <p:spPr>
            <a:xfrm>
              <a:off x="552833" y="910716"/>
              <a:ext cx="523539" cy="0"/>
            </a:xfrm>
            <a:prstGeom prst="line">
              <a:avLst/>
            </a:prstGeom>
            <a:ln w="3810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Заголовок 4"/>
            <p:cNvSpPr txBox="1">
              <a:spLocks/>
            </p:cNvSpPr>
            <p:nvPr/>
          </p:nvSpPr>
          <p:spPr bwMode="auto">
            <a:xfrm>
              <a:off x="552833" y="40596"/>
              <a:ext cx="9515044" cy="8074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rgbClr val="049536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16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ПРОГРАММ</a:t>
              </a:r>
              <a:r>
                <a:rPr lang="ru-RU" sz="1600" b="1" dirty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А</a:t>
              </a:r>
              <a:r>
                <a:rPr lang="ru-RU" sz="16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 Министерства Экономического Развития РФ (МЭР)</a:t>
              </a:r>
            </a:p>
            <a:p>
              <a:endParaRPr lang="ru-RU" sz="1600" b="1" dirty="0" smtClean="0">
                <a:solidFill>
                  <a:schemeClr val="accent5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  <a:p>
              <a:r>
                <a:rPr lang="ru-RU" sz="14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Постановление Правительства РФ № 1764 от 30.12.2018г.</a:t>
              </a:r>
              <a:endParaRPr lang="ru-RU" sz="1400" b="1" dirty="0">
                <a:solidFill>
                  <a:schemeClr val="accent5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7036379" y="231543"/>
            <a:ext cx="2345747" cy="473373"/>
            <a:chOff x="2643868" y="3564851"/>
            <a:chExt cx="6823666" cy="1114481"/>
          </a:xfrm>
        </p:grpSpPr>
        <p:pic>
          <p:nvPicPr>
            <p:cNvPr id="28" name="Изображение 2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43868" y="3564851"/>
              <a:ext cx="1104900" cy="9525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9" name="TextBox 28"/>
            <p:cNvSpPr txBox="1"/>
            <p:nvPr/>
          </p:nvSpPr>
          <p:spPr>
            <a:xfrm>
              <a:off x="4672289" y="3592416"/>
              <a:ext cx="4795245" cy="1086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000" dirty="0" smtClean="0">
                  <a:solidFill>
                    <a:schemeClr val="accent3"/>
                  </a:solidFill>
                  <a:latin typeface="Arial Narrow" charset="0"/>
                  <a:ea typeface="Arial Narrow" charset="0"/>
                  <a:cs typeface="Arial Narrow" charset="0"/>
                </a:rPr>
                <a:t>МИНИСТЕРСТВО ЭКОНОМИЧЕСКОГО РАЗВИТИЯ РФ</a:t>
              </a:r>
              <a:endParaRPr lang="ru-RU" sz="1000" dirty="0">
                <a:solidFill>
                  <a:schemeClr val="accent3"/>
                </a:solidFill>
                <a:latin typeface="Arial Narrow" charset="0"/>
                <a:ea typeface="Arial Narrow" charset="0"/>
                <a:cs typeface="Arial Narrow" charset="0"/>
              </a:endParaRPr>
            </a:p>
          </p:txBody>
        </p:sp>
      </p:grpSp>
      <p:sp>
        <p:nvSpPr>
          <p:cNvPr id="30" name="Номер слайда 3"/>
          <p:cNvSpPr txBox="1">
            <a:spLocks/>
          </p:cNvSpPr>
          <p:nvPr/>
        </p:nvSpPr>
        <p:spPr>
          <a:xfrm>
            <a:off x="7469012" y="6470158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ookC" charset="0"/>
                <a:ea typeface="FuturaBookC" charset="0"/>
                <a:cs typeface="FuturaBookC" charset="0"/>
              </a:rPr>
              <a:t>2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latin typeface="FuturaBookC" charset="0"/>
              <a:ea typeface="FuturaBookC" charset="0"/>
              <a:cs typeface="FuturaBookC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0067902"/>
              </p:ext>
            </p:extLst>
          </p:nvPr>
        </p:nvGraphicFramePr>
        <p:xfrm>
          <a:off x="106327" y="871868"/>
          <a:ext cx="9591535" cy="559955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16280"/>
                <a:gridCol w="7775255"/>
              </a:tblGrid>
              <a:tr h="3308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Times New Roman"/>
                        </a:rPr>
                        <a:t>Заемщики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Клиенты, занимающиеся</a:t>
                      </a: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приоритетными видами деятельности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</a:tr>
              <a:tr h="4306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Цель кредита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Char char="-"/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вестиционные</a:t>
                      </a:r>
                    </a:p>
                    <a:p>
                      <a:pPr marL="171450" indent="-1714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Char char="-"/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полнение оборотных активов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106499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Сумма кредита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 инвестиционных целей от 3 млн. рублей до 1 млрд рублей,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пополнения оборотных средств от 3 млн. рублей до 100 млн. рублей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рный объем кредитов, которые могут быть выданы одному заемщику, не может превышать 1 млрд рублей на инвестиционные цели или 100 млн. рублей на пополнение оборотных средств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ксимальная 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определяется платежеспособностью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6416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Срок кредита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инвестиционных целей до 10 лет, срок фондирования до 5 лет,</a:t>
                      </a:r>
                      <a:r>
                        <a:rPr lang="ru-RU" sz="12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о 10 лет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при наличие</a:t>
                      </a:r>
                      <a:r>
                        <a:rPr lang="ru-RU" sz="12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бюджетных ассигнований.</a:t>
                      </a:r>
                      <a:endParaRPr lang="ru-RU" sz="120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пополнение оборотных средств</a:t>
                      </a:r>
                      <a:r>
                        <a:rPr lang="ru-RU" sz="12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 3 лет,</a:t>
                      </a:r>
                      <a:r>
                        <a:rPr lang="ru-RU" sz="12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рок фондирования до 5 лет.</a:t>
                      </a:r>
                      <a:endParaRPr lang="ru-RU" sz="120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едитный договор (соглашение) должен быть заключен в период с 01 января 2019 г. по 30 ноября 2024 г.</a:t>
                      </a:r>
                      <a:endParaRPr lang="ru-RU" sz="1200" kern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21966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Процентная ставка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indent="448310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,5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годовых.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6416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Обеспечение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лог приобретаемого 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ущества.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ое имеющееся имущественное обеспечение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учительство собственников бизнеса, основных компаний Группы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6416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Форма предоставления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едит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возобновляемая кредитная линия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Возобновляемая кредитная линия (для оборотного кредитования)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920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Первоначальный взнос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залоге приобретаемого 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ущества</a:t>
                      </a:r>
                      <a:r>
                        <a:rPr lang="ru-RU" sz="12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т 10% до 25%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логе иного имеющегося имущественного обеспечения первоначальный взнос не требуется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113623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Times New Roman"/>
                        </a:rPr>
                        <a:t>Приоритетные отрасл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Сельское хозяйство;  Обрабатывающее производство;  Производство и распределение электроэнергии, газа и воды;  Строительство, в том числе в рамках развития внутреннего туризма;  Транспорт и связь;  Туристская деятельность (внутренний туризм);  Деятельность в области здравоохранения;  Сбор, обработка и утилизация отходов;  Деятельность предприятий общественного питания (за исключением ресторанов);  Деятельность в сфере бытовых услуг; Розничная торговля (для Клиентов, зарегистрированных</a:t>
                      </a: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на территории моногородов.)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7777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Группа 23"/>
          <p:cNvGrpSpPr/>
          <p:nvPr/>
        </p:nvGrpSpPr>
        <p:grpSpPr>
          <a:xfrm>
            <a:off x="212651" y="106445"/>
            <a:ext cx="9784382" cy="806131"/>
            <a:chOff x="283495" y="210911"/>
            <a:chExt cx="9784382" cy="806131"/>
          </a:xfrm>
        </p:grpSpPr>
        <p:cxnSp>
          <p:nvCxnSpPr>
            <p:cNvPr id="25" name="Прямая соединительная линия 24"/>
            <p:cNvCxnSpPr/>
            <p:nvPr/>
          </p:nvCxnSpPr>
          <p:spPr>
            <a:xfrm>
              <a:off x="542201" y="1017042"/>
              <a:ext cx="523539" cy="0"/>
            </a:xfrm>
            <a:prstGeom prst="line">
              <a:avLst/>
            </a:prstGeom>
            <a:ln w="3810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Заголовок 4"/>
            <p:cNvSpPr txBox="1">
              <a:spLocks/>
            </p:cNvSpPr>
            <p:nvPr/>
          </p:nvSpPr>
          <p:spPr bwMode="auto">
            <a:xfrm>
              <a:off x="283495" y="210911"/>
              <a:ext cx="9784382" cy="6370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rgbClr val="049536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16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ПРОГРАММА Министерства Сельского Хозяйства РФ (МСХ)</a:t>
              </a:r>
            </a:p>
            <a:p>
              <a:endParaRPr lang="ru-RU" sz="1600" b="1" dirty="0" smtClean="0">
                <a:solidFill>
                  <a:schemeClr val="accent5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  <a:p>
              <a:r>
                <a:rPr lang="ru-RU" sz="1400" b="1" dirty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Постановление Правительства РФ № </a:t>
              </a:r>
              <a:r>
                <a:rPr lang="ru-RU" sz="14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1528 </a:t>
              </a:r>
              <a:r>
                <a:rPr lang="ru-RU" sz="1400" b="1" dirty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от </a:t>
              </a:r>
              <a:r>
                <a:rPr lang="ru-RU" sz="14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29.12.2016г.</a:t>
              </a:r>
              <a:endParaRPr lang="ru-RU" sz="1400" b="1" dirty="0">
                <a:solidFill>
                  <a:schemeClr val="accent5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0" name="Номер слайда 3"/>
          <p:cNvSpPr txBox="1">
            <a:spLocks/>
          </p:cNvSpPr>
          <p:nvPr/>
        </p:nvSpPr>
        <p:spPr>
          <a:xfrm>
            <a:off x="7469012" y="6470158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ookC" charset="0"/>
                <a:ea typeface="FuturaBookC" charset="0"/>
                <a:cs typeface="FuturaBookC" charset="0"/>
              </a:rPr>
              <a:t>3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latin typeface="FuturaBookC" charset="0"/>
              <a:ea typeface="FuturaBookC" charset="0"/>
              <a:cs typeface="FuturaBookC" charset="0"/>
            </a:endParaRPr>
          </a:p>
        </p:txBody>
      </p:sp>
      <p:pic>
        <p:nvPicPr>
          <p:cNvPr id="31" name="Picture 2" descr="T:\DMZ3In\th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1416" y="214603"/>
            <a:ext cx="851840" cy="614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7153256" y="436202"/>
            <a:ext cx="24160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000" dirty="0" smtClean="0">
                <a:solidFill>
                  <a:schemeClr val="accent3"/>
                </a:solidFill>
                <a:latin typeface="Arial Narrow" charset="0"/>
                <a:ea typeface="Arial Narrow" charset="0"/>
                <a:cs typeface="Arial Narrow" charset="0"/>
              </a:rPr>
              <a:t>МИНИСТЕРСТВО СЕЛЬСКОГО ХОЗЯЙСТВА</a:t>
            </a:r>
            <a:endParaRPr lang="ru-RU" sz="1000" dirty="0">
              <a:solidFill>
                <a:schemeClr val="accent3"/>
              </a:solidFill>
              <a:latin typeface="Arial Narrow" charset="0"/>
              <a:ea typeface="Arial Narrow" charset="0"/>
              <a:cs typeface="Arial Narrow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7259154"/>
              </p:ext>
            </p:extLst>
          </p:nvPr>
        </p:nvGraphicFramePr>
        <p:xfrm>
          <a:off x="95693" y="999459"/>
          <a:ext cx="9707526" cy="547069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66333"/>
                <a:gridCol w="6541193"/>
              </a:tblGrid>
              <a:tr h="5067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емщики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приятия АПК, осуществляющие производство, первичную и последующую переработку с/х продукции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rgbClr val="92D050"/>
                    </a:solidFill>
                  </a:tcPr>
                </a:tc>
              </a:tr>
              <a:tr h="5178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ь креди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Текущая деятельность предприятия </a:t>
                      </a:r>
                    </a:p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Инвестиционные расходы предприят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73303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д деятельности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ельскохозяйственные товаропроизводители, организации и индивидуальные предприниматели, осуществляющие производство, первичную и (или) последующую (промышленную) переработку сельскохозяйственной продукции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917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креди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  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0 тыс. руб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ксимальная сумма определяется платежеспособностью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56511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креди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на цели осуществления текущей деятельности – до 1 года включительно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на инвестиционные цели – от 2 до 15 лет</a:t>
                      </a:r>
                      <a:endParaRPr lang="ru-RU" sz="1200" kern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9593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центная ставк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indent="448310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 5% годовых.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73303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спечение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лог приобретаемого 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ущества.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ое имеющееся имущественное обеспечение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учительство собственников бизнеса, основных компаний Группы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3303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предоставлен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едит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возобновляемая кредитная линия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Возобновляемая кредитная линия</a:t>
                      </a:r>
                      <a:r>
                        <a:rPr lang="ru-RU" sz="1200" kern="12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(для оборотного кредитования)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89417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воначальный взнос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 10% до</a:t>
                      </a:r>
                      <a:r>
                        <a:rPr lang="ru-RU" sz="12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5% 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и 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логе 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обретаемого</a:t>
                      </a:r>
                      <a:r>
                        <a:rPr lang="ru-RU" sz="12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мущества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логе иного имеющегося имущественного обеспечения первоначальный взнос не требуется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1897" marR="51897" marT="80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1907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Группа 23"/>
          <p:cNvGrpSpPr/>
          <p:nvPr/>
        </p:nvGrpSpPr>
        <p:grpSpPr>
          <a:xfrm>
            <a:off x="191386" y="88591"/>
            <a:ext cx="9544002" cy="940944"/>
            <a:chOff x="262230" y="193057"/>
            <a:chExt cx="9544002" cy="940944"/>
          </a:xfrm>
        </p:grpSpPr>
        <p:cxnSp>
          <p:nvCxnSpPr>
            <p:cNvPr id="25" name="Прямая соединительная линия 24"/>
            <p:cNvCxnSpPr/>
            <p:nvPr/>
          </p:nvCxnSpPr>
          <p:spPr>
            <a:xfrm>
              <a:off x="299733" y="1134001"/>
              <a:ext cx="523539" cy="0"/>
            </a:xfrm>
            <a:prstGeom prst="line">
              <a:avLst/>
            </a:prstGeom>
            <a:ln w="3810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Заголовок 4"/>
            <p:cNvSpPr txBox="1">
              <a:spLocks/>
            </p:cNvSpPr>
            <p:nvPr/>
          </p:nvSpPr>
          <p:spPr bwMode="auto">
            <a:xfrm>
              <a:off x="262230" y="193057"/>
              <a:ext cx="9544002" cy="7755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rgbClr val="049536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14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ПРОГРАММА Республики Беларусь</a:t>
              </a:r>
            </a:p>
            <a:p>
              <a:endParaRPr lang="ru-RU" sz="1400" b="1" dirty="0" smtClean="0">
                <a:solidFill>
                  <a:schemeClr val="accent5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  <a:p>
              <a:r>
                <a:rPr lang="ru-RU" sz="1400" b="1" dirty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Договор между Правительством Республики </a:t>
              </a:r>
              <a:r>
                <a:rPr lang="ru-RU" sz="14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Беларусь</a:t>
              </a:r>
            </a:p>
            <a:p>
              <a:r>
                <a:rPr lang="ru-RU" sz="14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 </a:t>
              </a:r>
              <a:r>
                <a:rPr lang="ru-RU" sz="1400" b="1" dirty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и Открытым акционерным обществом «Сбербанк России</a:t>
              </a:r>
              <a:r>
                <a:rPr lang="ru-RU" sz="14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» от 15.04.2015г. </a:t>
              </a:r>
              <a:endParaRPr lang="ru-RU" sz="1400" b="1" dirty="0">
                <a:solidFill>
                  <a:schemeClr val="accent5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0" name="Номер слайда 3"/>
          <p:cNvSpPr txBox="1">
            <a:spLocks/>
          </p:cNvSpPr>
          <p:nvPr/>
        </p:nvSpPr>
        <p:spPr>
          <a:xfrm>
            <a:off x="7469012" y="6470158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ookC" charset="0"/>
                <a:ea typeface="FuturaBookC" charset="0"/>
                <a:cs typeface="FuturaBookC" charset="0"/>
              </a:rPr>
              <a:t>4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latin typeface="FuturaBookC" charset="0"/>
              <a:ea typeface="FuturaBookC" charset="0"/>
              <a:cs typeface="FuturaBookC" charset="0"/>
            </a:endParaRPr>
          </a:p>
        </p:txBody>
      </p:sp>
      <p:pic>
        <p:nvPicPr>
          <p:cNvPr id="3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8121" y="223801"/>
            <a:ext cx="615818" cy="6192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TextBox 38"/>
          <p:cNvSpPr txBox="1"/>
          <p:nvPr/>
        </p:nvSpPr>
        <p:spPr>
          <a:xfrm>
            <a:off x="7843939" y="335921"/>
            <a:ext cx="19679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000" dirty="0" smtClean="0">
                <a:solidFill>
                  <a:schemeClr val="accent3"/>
                </a:solidFill>
                <a:latin typeface="Arial Narrow" charset="0"/>
                <a:ea typeface="Arial Narrow" charset="0"/>
                <a:cs typeface="Arial Narrow" charset="0"/>
              </a:rPr>
              <a:t>ПРАВИТЕЛЬСТВО РЕСПУБЛИКИ БЕЛАРУСЬ</a:t>
            </a:r>
            <a:endParaRPr lang="ru-RU" sz="1000" dirty="0">
              <a:solidFill>
                <a:schemeClr val="accent3"/>
              </a:solidFill>
              <a:latin typeface="Arial Narrow" charset="0"/>
              <a:ea typeface="Arial Narrow" charset="0"/>
              <a:cs typeface="Arial Narrow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0200372"/>
              </p:ext>
            </p:extLst>
          </p:nvPr>
        </p:nvGraphicFramePr>
        <p:xfrm>
          <a:off x="95693" y="1137684"/>
          <a:ext cx="9716237" cy="536203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56147"/>
                <a:gridCol w="6260090"/>
              </a:tblGrid>
              <a:tr h="3830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ь креди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4206" marR="44206" marT="6836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обретение</a:t>
                      </a:r>
                      <a:r>
                        <a:rPr lang="ru-RU" sz="12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овой техники белорусского производств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4206" marR="44206" marT="6836" marB="0">
                    <a:solidFill>
                      <a:srgbClr val="92D050"/>
                    </a:solidFill>
                  </a:tcPr>
                </a:tc>
              </a:tr>
              <a:tr h="168738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чень заводов производителей техники включены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4206" marR="44206" marT="6836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 eaLnBrk="0" fontAlgn="base" hangingPunct="0">
                        <a:spcAft>
                          <a:spcPts val="0"/>
                        </a:spcAft>
                        <a:buFont typeface="Times New Roman"/>
                        <a:buChar char="•"/>
                        <a:tabLst>
                          <a:tab pos="457200" algn="l"/>
                        </a:tabLs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ский автозавод (грузовые автомобили, автобусы, троллейбусы),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 eaLnBrk="0" fontAlgn="base" hangingPunct="0">
                        <a:spcAft>
                          <a:spcPts val="0"/>
                        </a:spcAft>
                        <a:buFont typeface="Times New Roman"/>
                        <a:buChar char="•"/>
                        <a:tabLst>
                          <a:tab pos="457200" algn="l"/>
                        </a:tabLs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ский тракторный завод;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 eaLnBrk="0" fontAlgn="base" hangingPunct="0">
                        <a:spcAft>
                          <a:spcPts val="0"/>
                        </a:spcAft>
                        <a:buFont typeface="Times New Roman"/>
                        <a:buChar char="•"/>
                        <a:tabLst>
                          <a:tab pos="457200" algn="l"/>
                        </a:tabLs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обруйский завод тракторных деталей и агрегатов (тракторы);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 eaLnBrk="0" fontAlgn="base" hangingPunct="0">
                        <a:spcAft>
                          <a:spcPts val="0"/>
                        </a:spcAft>
                        <a:buFont typeface="Times New Roman"/>
                        <a:buChar char="•"/>
                        <a:tabLst>
                          <a:tab pos="457200" algn="l"/>
                        </a:tabLs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БелАЗ» (большегрузная техника, карьерные самосвалы);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 eaLnBrk="0" fontAlgn="base" hangingPunct="0">
                        <a:spcAft>
                          <a:spcPts val="0"/>
                        </a:spcAft>
                        <a:buFont typeface="Times New Roman"/>
                        <a:buChar char="•"/>
                        <a:tabLst>
                          <a:tab pos="457200" algn="l"/>
                        </a:tabLs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Гомсельмаш» (зерноуборочная и кормоуборочная техника);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 eaLnBrk="0" fontAlgn="base" hangingPunct="0">
                        <a:spcAft>
                          <a:spcPts val="0"/>
                        </a:spcAft>
                        <a:buFont typeface="Times New Roman"/>
                        <a:buChar char="•"/>
                        <a:tabLst>
                          <a:tab pos="457200" algn="l"/>
                        </a:tabLs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Бобруйскагромаш» (уборочная сельхозтехника);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 eaLnBrk="0" fontAlgn="base" hangingPunct="0">
                        <a:spcAft>
                          <a:spcPts val="0"/>
                        </a:spcAft>
                        <a:buFont typeface="Times New Roman"/>
                        <a:buChar char="•"/>
                        <a:tabLst>
                          <a:tab pos="457200" algn="l"/>
                        </a:tabLs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Лидагропроммаш» (зерноуборочная техника, посевная техника);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 eaLnBrk="0" fontAlgn="base" hangingPunct="0">
                        <a:spcAft>
                          <a:spcPts val="0"/>
                        </a:spcAft>
                        <a:buFont typeface="Times New Roman"/>
                        <a:buChar char="•"/>
                        <a:tabLst>
                          <a:tab pos="457200" algn="l"/>
                        </a:tabLs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рестский электромеханический завод (посевные агрегаты, сеялки);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 eaLnBrk="0" fontAlgn="base" hangingPunct="0">
                        <a:spcAft>
                          <a:spcPts val="0"/>
                        </a:spcAft>
                        <a:buFont typeface="Times New Roman"/>
                        <a:buChar char="•"/>
                        <a:tabLst>
                          <a:tab pos="457200" algn="l"/>
                        </a:tabLs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Белкоммунмаш» (троллейбусы, трамваи, коммунальная техника)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4206" marR="44206" marT="6836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6506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креди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4206" marR="44206" marT="6836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 500 тыс. руб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Заемщиков, осуществляющих с/х деятельность – от  150 тыс. руб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ксимальная сумма определяется платежеспособностью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4206" marR="44206" marT="6836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9401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креди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4206" marR="44206" marT="6836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 5 лет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206" marR="44206" marT="6836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76259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центная ставк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4206" marR="44206" marT="6836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indent="448310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 8% 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овых.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Финансов Республики Беларусь 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бсидирует ПАО Сбербанк 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асть процентной ставки по кредитам конечным покупателям техники белорусского производства в размере ключевой ставки ЦБ РФ – 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,75</a:t>
                      </a:r>
                      <a:r>
                        <a:rPr lang="ru-RU" sz="1200" u="sng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u="sng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годовых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        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4206" marR="44206" marT="6836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6506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спечение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4206" marR="44206" marT="6836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лог приобретаемого транспортного средства.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ое имеющиеся имущественное обеспечение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учительство собственников бизнеса, основных компаний Группы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4206" marR="44206" marT="6836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43610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предоставлен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4206" marR="44206" marT="6836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едит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возобновляемая кредитная линия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4206" marR="44206" marT="6836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975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воначальный взнос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4206" marR="44206" marT="6836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 % для всех заемщиков в рамках программы «Беларусь»  под залог приобретаемых ТС. В остальных случаях первоначальный взнос  не требуется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4206" marR="44206" marT="6836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1504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Группа 23"/>
          <p:cNvGrpSpPr/>
          <p:nvPr/>
        </p:nvGrpSpPr>
        <p:grpSpPr>
          <a:xfrm>
            <a:off x="106327" y="170230"/>
            <a:ext cx="9437675" cy="754801"/>
            <a:chOff x="476342" y="620709"/>
            <a:chExt cx="9437675" cy="396333"/>
          </a:xfrm>
        </p:grpSpPr>
        <p:cxnSp>
          <p:nvCxnSpPr>
            <p:cNvPr id="25" name="Прямая соединительная линия 24"/>
            <p:cNvCxnSpPr/>
            <p:nvPr/>
          </p:nvCxnSpPr>
          <p:spPr>
            <a:xfrm>
              <a:off x="542201" y="1017042"/>
              <a:ext cx="523539" cy="0"/>
            </a:xfrm>
            <a:prstGeom prst="line">
              <a:avLst/>
            </a:prstGeom>
            <a:ln w="3810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Заголовок 4"/>
            <p:cNvSpPr txBox="1">
              <a:spLocks/>
            </p:cNvSpPr>
            <p:nvPr/>
          </p:nvSpPr>
          <p:spPr bwMode="auto">
            <a:xfrm>
              <a:off x="476342" y="620709"/>
              <a:ext cx="9437675" cy="3490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rgbClr val="049536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16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ПРОГРАММ</a:t>
              </a:r>
              <a:r>
                <a:rPr lang="ru-RU" sz="1600" b="1" dirty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А</a:t>
              </a:r>
              <a:r>
                <a:rPr lang="ru-RU" sz="16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 Министерства Промышленности и Торговли РФ (МПТ)</a:t>
              </a:r>
            </a:p>
            <a:p>
              <a:endParaRPr lang="ru-RU" sz="1600" b="1" dirty="0">
                <a:solidFill>
                  <a:schemeClr val="accent5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  <a:p>
              <a:r>
                <a:rPr lang="ru-RU" sz="1600" b="1" dirty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Постановление Правительства </a:t>
              </a:r>
              <a:r>
                <a:rPr lang="ru-RU" sz="16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РФ</a:t>
              </a:r>
              <a:endParaRPr lang="ru-RU" sz="1600" b="1" dirty="0">
                <a:solidFill>
                  <a:schemeClr val="accent5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7240772" y="300343"/>
            <a:ext cx="2457089" cy="461665"/>
            <a:chOff x="2643868" y="3564851"/>
            <a:chExt cx="8477460" cy="1086917"/>
          </a:xfrm>
        </p:grpSpPr>
        <p:pic>
          <p:nvPicPr>
            <p:cNvPr id="28" name="Изображение 2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43868" y="3564851"/>
              <a:ext cx="1104900" cy="9525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9" name="TextBox 28"/>
            <p:cNvSpPr txBox="1"/>
            <p:nvPr/>
          </p:nvSpPr>
          <p:spPr>
            <a:xfrm>
              <a:off x="4294667" y="3564851"/>
              <a:ext cx="6826661" cy="10869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000" dirty="0" smtClean="0">
                  <a:solidFill>
                    <a:schemeClr val="accent3"/>
                  </a:solidFill>
                  <a:latin typeface="Arial Narrow" charset="0"/>
                  <a:ea typeface="Arial Narrow" charset="0"/>
                  <a:cs typeface="Arial Narrow" charset="0"/>
                </a:rPr>
                <a:t>МИНИСТЕРСТВО ПРОМЫШЛЕННОСТИ И ТОРГОВЛИ РФ</a:t>
              </a:r>
              <a:endParaRPr lang="ru-RU" sz="1000" dirty="0">
                <a:solidFill>
                  <a:schemeClr val="accent3"/>
                </a:solidFill>
                <a:latin typeface="Arial Narrow" charset="0"/>
                <a:ea typeface="Arial Narrow" charset="0"/>
                <a:cs typeface="Arial Narrow" charset="0"/>
              </a:endParaRPr>
            </a:p>
          </p:txBody>
        </p:sp>
      </p:grpSp>
      <p:sp>
        <p:nvSpPr>
          <p:cNvPr id="30" name="Номер слайда 3"/>
          <p:cNvSpPr txBox="1">
            <a:spLocks/>
          </p:cNvSpPr>
          <p:nvPr/>
        </p:nvSpPr>
        <p:spPr>
          <a:xfrm>
            <a:off x="7469012" y="6470158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ookC" charset="0"/>
                <a:ea typeface="FuturaBookC" charset="0"/>
                <a:cs typeface="FuturaBookC" charset="0"/>
              </a:rPr>
              <a:t>5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latin typeface="FuturaBookC" charset="0"/>
              <a:ea typeface="FuturaBookC" charset="0"/>
              <a:cs typeface="FuturaBookC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1447085"/>
              </p:ext>
            </p:extLst>
          </p:nvPr>
        </p:nvGraphicFramePr>
        <p:xfrm>
          <a:off x="106327" y="1072781"/>
          <a:ext cx="9696892" cy="527485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36231"/>
                <a:gridCol w="7860661"/>
              </a:tblGrid>
              <a:tr h="118210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ь креди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вестиционные цели:</a:t>
                      </a:r>
                      <a:r>
                        <a:rPr lang="ru-RU" sz="12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иобретение техники, относящейся к кодам Общероссийского классификатора продукции по видам экономической деятельности в соответствии со списком</a:t>
                      </a:r>
                      <a:r>
                        <a:rPr lang="ru-RU" sz="12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 перечнем инновационной техники, утверждаемого МПТ .</a:t>
                      </a:r>
                    </a:p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допускается приобретение  имущества для дальнейшей перепродажи – имущество приобретается для использования в предпринимательских целях.</a:t>
                      </a: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</a:tr>
              <a:tr h="7192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креди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 500 тыс. руб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Заемщиков, осуществляющих с/х деятельность – от  150 тыс. руб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ксимальная сумма определяется платежеспособностью.</a:t>
                      </a: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9149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креди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более 60 месяцев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дача кредита / части кредита должна осуществляться в день подписания кредитной документации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бсидирование осуществляется по кредитам / траншам, выданным по кредитам, участвующим в Программе субсидирования МПТ 2019.</a:t>
                      </a: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357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центная ставк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indent="448310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</a:t>
                      </a:r>
                      <a:r>
                        <a:rPr lang="ru-RU" sz="12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реднем до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7% 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овых.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363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спечение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бязательном порядке оформляется в качестве обеспечения залог приобретаемой техники (оборудования)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6212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предоставлен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едит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возобновляемая кредитная линия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46212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воначальный взнос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залоге приобретаемого 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ущества</a:t>
                      </a:r>
                      <a:r>
                        <a:rPr lang="ru-RU" sz="12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т 10% до 25%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логе иного имеющегося имущественного обеспечения первоначальный взнос не требуется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9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Приоритетные приобретаемой техники и оборудовани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Техника</a:t>
                      </a: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сельскохозяйственная, строительно-дорожная и коммунальна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Оборудование для пищевой и перерабатывающей промышленности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5226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Группа 23"/>
          <p:cNvGrpSpPr/>
          <p:nvPr/>
        </p:nvGrpSpPr>
        <p:grpSpPr>
          <a:xfrm>
            <a:off x="106327" y="170230"/>
            <a:ext cx="9437675" cy="754804"/>
            <a:chOff x="476342" y="620708"/>
            <a:chExt cx="9437675" cy="396334"/>
          </a:xfrm>
        </p:grpSpPr>
        <p:cxnSp>
          <p:nvCxnSpPr>
            <p:cNvPr id="25" name="Прямая соединительная линия 24"/>
            <p:cNvCxnSpPr/>
            <p:nvPr/>
          </p:nvCxnSpPr>
          <p:spPr>
            <a:xfrm>
              <a:off x="542201" y="1017042"/>
              <a:ext cx="523539" cy="0"/>
            </a:xfrm>
            <a:prstGeom prst="line">
              <a:avLst/>
            </a:prstGeom>
            <a:ln w="3810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Заголовок 4"/>
            <p:cNvSpPr txBox="1">
              <a:spLocks/>
            </p:cNvSpPr>
            <p:nvPr/>
          </p:nvSpPr>
          <p:spPr bwMode="auto">
            <a:xfrm>
              <a:off x="476342" y="620708"/>
              <a:ext cx="9437675" cy="3490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rgbClr val="049536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16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ПРОГРАММ</a:t>
              </a:r>
              <a:r>
                <a:rPr lang="ru-RU" sz="1600" b="1" dirty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А</a:t>
              </a:r>
              <a:r>
                <a:rPr lang="ru-RU" sz="16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 Фонда развития моногородов</a:t>
              </a:r>
            </a:p>
            <a:p>
              <a:endParaRPr lang="ru-RU" sz="1600" b="1" dirty="0" smtClean="0">
                <a:solidFill>
                  <a:schemeClr val="accent5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  <a:p>
              <a:r>
                <a:rPr lang="ru-RU" sz="16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Продукт «Моногорода РФ «10 – 250»</a:t>
              </a:r>
              <a:endParaRPr lang="ru-RU" sz="1600" b="1" dirty="0">
                <a:solidFill>
                  <a:schemeClr val="accent5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7240772" y="300344"/>
            <a:ext cx="2457089" cy="404572"/>
            <a:chOff x="2643868" y="3564851"/>
            <a:chExt cx="8477460" cy="952500"/>
          </a:xfrm>
        </p:grpSpPr>
        <p:pic>
          <p:nvPicPr>
            <p:cNvPr id="28" name="Изображение 2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43868" y="3564851"/>
              <a:ext cx="1104900" cy="9525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9" name="TextBox 28"/>
            <p:cNvSpPr txBox="1"/>
            <p:nvPr/>
          </p:nvSpPr>
          <p:spPr>
            <a:xfrm>
              <a:off x="4294667" y="3564851"/>
              <a:ext cx="6826661" cy="5072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000" dirty="0" smtClean="0">
                  <a:solidFill>
                    <a:schemeClr val="accent3"/>
                  </a:solidFill>
                  <a:latin typeface="Arial Narrow" charset="0"/>
                  <a:ea typeface="Arial Narrow" charset="0"/>
                  <a:cs typeface="Arial Narrow" charset="0"/>
                </a:rPr>
                <a:t>ФОНД РАЗВИТИЯ МОНОГОРОДОВ</a:t>
              </a:r>
              <a:endParaRPr lang="ru-RU" sz="1000" dirty="0">
                <a:solidFill>
                  <a:schemeClr val="accent3"/>
                </a:solidFill>
                <a:latin typeface="Arial Narrow" charset="0"/>
                <a:ea typeface="Arial Narrow" charset="0"/>
                <a:cs typeface="Arial Narrow" charset="0"/>
              </a:endParaRPr>
            </a:p>
          </p:txBody>
        </p:sp>
      </p:grpSp>
      <p:sp>
        <p:nvSpPr>
          <p:cNvPr id="30" name="Номер слайда 3"/>
          <p:cNvSpPr txBox="1">
            <a:spLocks/>
          </p:cNvSpPr>
          <p:nvPr/>
        </p:nvSpPr>
        <p:spPr>
          <a:xfrm>
            <a:off x="7469012" y="6470158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ookC" charset="0"/>
                <a:ea typeface="FuturaBookC" charset="0"/>
                <a:cs typeface="FuturaBookC" charset="0"/>
              </a:rPr>
              <a:t>5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latin typeface="FuturaBookC" charset="0"/>
              <a:ea typeface="FuturaBookC" charset="0"/>
              <a:cs typeface="FuturaBookC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0304936"/>
              </p:ext>
            </p:extLst>
          </p:nvPr>
        </p:nvGraphicFramePr>
        <p:xfrm>
          <a:off x="106326" y="1010093"/>
          <a:ext cx="9686259" cy="527374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96691"/>
                <a:gridCol w="7489568"/>
              </a:tblGrid>
              <a:tr h="78350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ь </a:t>
                      </a: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раммы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авление беспроцентных займов на любые цели развития бизнеса.</a:t>
                      </a: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</a:tr>
              <a:tr h="8332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Заемщик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П</a:t>
                      </a:r>
                      <a:r>
                        <a:rPr lang="ru-RU" sz="14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ЮЛ</a:t>
                      </a: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ru-RU" sz="14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существляющих деятельность и/или зарегистрированных на территории моногородов РФ</a:t>
                      </a:r>
                      <a:endParaRPr lang="ru-RU" sz="140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8095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</a:t>
                      </a: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йма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 10 млн. руб. до 250 млн. руб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ксимальная сумма определяется платежеспособностью.</a:t>
                      </a: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524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</a:t>
                      </a: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йм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более 15 лет.</a:t>
                      </a: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43481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центная ставка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indent="448310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% 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077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спечение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бязательном порядке оформляется в качестве обеспечения Банковская гарантия.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8524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предоставления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йм Фонда развития моногородов</a:t>
                      </a: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7408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Группа 23"/>
          <p:cNvGrpSpPr/>
          <p:nvPr/>
        </p:nvGrpSpPr>
        <p:grpSpPr>
          <a:xfrm>
            <a:off x="106327" y="252339"/>
            <a:ext cx="9437675" cy="402035"/>
            <a:chOff x="476342" y="911741"/>
            <a:chExt cx="9437675" cy="105301"/>
          </a:xfrm>
        </p:grpSpPr>
        <p:cxnSp>
          <p:nvCxnSpPr>
            <p:cNvPr id="25" name="Прямая соединительная линия 24"/>
            <p:cNvCxnSpPr/>
            <p:nvPr/>
          </p:nvCxnSpPr>
          <p:spPr>
            <a:xfrm>
              <a:off x="542201" y="1017042"/>
              <a:ext cx="523539" cy="0"/>
            </a:xfrm>
            <a:prstGeom prst="line">
              <a:avLst/>
            </a:prstGeom>
            <a:ln w="3810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Заголовок 4"/>
            <p:cNvSpPr txBox="1">
              <a:spLocks/>
            </p:cNvSpPr>
            <p:nvPr/>
          </p:nvSpPr>
          <p:spPr bwMode="auto">
            <a:xfrm>
              <a:off x="476342" y="911741"/>
              <a:ext cx="9437675" cy="580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rgbClr val="049536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6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STARTUP – </a:t>
              </a:r>
              <a:r>
                <a:rPr lang="ru-RU" sz="16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Развитие новых видов деятельности</a:t>
              </a:r>
              <a:endParaRPr lang="ru-RU" sz="1600" b="1" dirty="0">
                <a:solidFill>
                  <a:schemeClr val="accent5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0" name="Номер слайда 3"/>
          <p:cNvSpPr txBox="1">
            <a:spLocks/>
          </p:cNvSpPr>
          <p:nvPr/>
        </p:nvSpPr>
        <p:spPr>
          <a:xfrm>
            <a:off x="7469012" y="6470158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ookC" charset="0"/>
                <a:ea typeface="FuturaBookC" charset="0"/>
                <a:cs typeface="FuturaBookC" charset="0"/>
              </a:rPr>
              <a:t>5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latin typeface="FuturaBookC" charset="0"/>
              <a:ea typeface="FuturaBookC" charset="0"/>
              <a:cs typeface="FuturaBookC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5078002"/>
              </p:ext>
            </p:extLst>
          </p:nvPr>
        </p:nvGraphicFramePr>
        <p:xfrm>
          <a:off x="106327" y="765545"/>
          <a:ext cx="9718157" cy="560335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40257"/>
                <a:gridCol w="7877900"/>
              </a:tblGrid>
              <a:tr h="87139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ь креди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едитование проектных компаний, развитие нового вида деятельности: </a:t>
                      </a:r>
                    </a:p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Инвестиционные</a:t>
                      </a:r>
                    </a:p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Пополнение оборотных активов </a:t>
                      </a:r>
                    </a:p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endParaRPr lang="ru-RU" sz="120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</a:tr>
              <a:tr h="6557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STARTUP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бъект МСП, с даты регистрации которого прошло не более 5 лет, или субъект МСП, который с даты государственной регистрации не осуществлял производство (реализацию услуги) или осуществлял в незначительном объеме.</a:t>
                      </a: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6763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креди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 500 тыс. руб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Заемщиков, осуществляющих с/х деятельность – от  150 тыс. руб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ксимальная сумма определяется платежеспособностью.</a:t>
                      </a: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641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креди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инвестиционных целей до 10 лет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пополнение оборотных средств до 3 лет. </a:t>
                      </a: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9856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центная ставк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indent="448310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ивидуальный расчет ставок для каждой сделки.</a:t>
                      </a: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6557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спечение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лог приобретаемого имущества. 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ое имеющееся имущественное обеспечение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учительство собственников бизнеса, основных компаний Группы</a:t>
                      </a: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962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предоставлен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едит, Невозобновляемая 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едитная 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ния,</a:t>
                      </a:r>
                      <a:r>
                        <a:rPr lang="ru-RU" sz="12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озобновляемая кредитная линия.</a:t>
                      </a:r>
                      <a:endParaRPr lang="ru-RU" sz="120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4012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воначальный взнос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залоге приобретаемого </a:t>
                      </a: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ущества</a:t>
                      </a:r>
                      <a:r>
                        <a:rPr lang="ru-RU" sz="12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т 10% до 25%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логе иного имеющегося имущественного обеспечения первоначальный взнос не требуется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86736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Дополнительные требовани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Наличие</a:t>
                      </a: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действующего бизнеса: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срок ведения бизнеса для розничной торговли – 3 мес.,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прочие виды деятельности – 6 мес.,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Сезонные виды деятельности – 12 мес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7756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Группа 23"/>
          <p:cNvGrpSpPr/>
          <p:nvPr/>
        </p:nvGrpSpPr>
        <p:grpSpPr>
          <a:xfrm>
            <a:off x="212651" y="313073"/>
            <a:ext cx="9437677" cy="609397"/>
            <a:chOff x="70844" y="528385"/>
            <a:chExt cx="9650329" cy="305461"/>
          </a:xfrm>
        </p:grpSpPr>
        <p:cxnSp>
          <p:nvCxnSpPr>
            <p:cNvPr id="25" name="Прямая соединительная линия 24"/>
            <p:cNvCxnSpPr/>
            <p:nvPr/>
          </p:nvCxnSpPr>
          <p:spPr>
            <a:xfrm>
              <a:off x="291062" y="833846"/>
              <a:ext cx="523539" cy="0"/>
            </a:xfrm>
            <a:prstGeom prst="line">
              <a:avLst/>
            </a:prstGeom>
            <a:ln w="3810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Заголовок 4"/>
            <p:cNvSpPr txBox="1">
              <a:spLocks/>
            </p:cNvSpPr>
            <p:nvPr/>
          </p:nvSpPr>
          <p:spPr bwMode="auto">
            <a:xfrm>
              <a:off x="70844" y="528385"/>
              <a:ext cx="9650329" cy="3054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rgbClr val="049536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1600" b="1" dirty="0" smtClean="0">
                  <a:solidFill>
                    <a:schemeClr val="accent5"/>
                  </a:solidFill>
                  <a:latin typeface="Times New Roman" panose="02020603050405020304" pitchFamily="18" charset="0"/>
                  <a:ea typeface="Century Gothic" charset="0"/>
                  <a:cs typeface="Times New Roman" panose="02020603050405020304" pitchFamily="18" charset="0"/>
                </a:rPr>
                <a:t>Механизм гарантийной поддержки</a:t>
              </a:r>
              <a:endParaRPr lang="en-US" sz="1600" b="1" dirty="0">
                <a:solidFill>
                  <a:schemeClr val="accent5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  <a:p>
              <a:endParaRPr lang="ru-RU" sz="1400" b="1" dirty="0" smtClean="0">
                <a:solidFill>
                  <a:srgbClr val="329AC6"/>
                </a:solidFill>
                <a:latin typeface="Times New Roman" panose="02020603050405020304" pitchFamily="18" charset="0"/>
                <a:ea typeface="Century Gothic" charset="0"/>
                <a:cs typeface="Times New Roman" panose="02020603050405020304" pitchFamily="18" charset="0"/>
              </a:endParaRPr>
            </a:p>
            <a:p>
              <a:endParaRPr lang="ru-RU" sz="1400" b="1" dirty="0">
                <a:solidFill>
                  <a:srgbClr val="329AC6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</p:grpSp>
      <p:sp>
        <p:nvSpPr>
          <p:cNvPr id="30" name="Номер слайда 3"/>
          <p:cNvSpPr txBox="1">
            <a:spLocks/>
          </p:cNvSpPr>
          <p:nvPr/>
        </p:nvSpPr>
        <p:spPr>
          <a:xfrm>
            <a:off x="7469012" y="6470158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BookC" charset="0"/>
                <a:ea typeface="FuturaBookC" charset="0"/>
                <a:cs typeface="FuturaBookC" charset="0"/>
              </a:rPr>
              <a:t>1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latin typeface="FuturaBookC" charset="0"/>
              <a:ea typeface="FuturaBookC" charset="0"/>
              <a:cs typeface="FuturaBookC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3503312"/>
              </p:ext>
            </p:extLst>
          </p:nvPr>
        </p:nvGraphicFramePr>
        <p:xfrm>
          <a:off x="106326" y="1073887"/>
          <a:ext cx="9686260" cy="529501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25504"/>
                <a:gridCol w="7860756"/>
              </a:tblGrid>
              <a:tr h="66566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dirty="0" smtClean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Заемщик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endParaRPr lang="ru-RU" sz="1400" dirty="0" smtClean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Клиенты, относящиеся к субъектам МСП в соответствии с требованиями 209-ФЗ РФ.</a:t>
                      </a:r>
                      <a:r>
                        <a:rPr lang="ru-RU" sz="14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</a:tr>
              <a:tr h="11788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ручительство МКК Госфонд ППКО 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  <a:tabLst>
                          <a:tab pos="245745" algn="l"/>
                          <a:tab pos="274320" algn="l"/>
                          <a:tab pos="408305" algn="l"/>
                        </a:tabLs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формленное в соответствии с требованиями действующего законодательства Российской Федерации поручительство, в соответствии с которой МКК Госфонд ППКО перед Банком</a:t>
                      </a:r>
                      <a:r>
                        <a:rPr lang="ru-RU" sz="14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чать за исполнение субъектом МСП (Принципалом) его обязательств по кредитному договору/договору о предоставлении банковской гаранти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88666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</a:t>
                      </a: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учительства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 25 млн. руб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•До 50% суммы кредита (основной долг)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•До 70% от суммы гарантии исполнения контракта</a:t>
                      </a: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59453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поручительства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= Сроку кредита + 3 года</a:t>
                      </a:r>
                      <a:endParaRPr lang="ru-RU" sz="1400" kern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116329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иссия за предоставление </a:t>
                      </a:r>
                      <a:r>
                        <a:rPr lang="ru-RU" sz="14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ручительства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indent="448310">
                        <a:spcAft>
                          <a:spcPts val="0"/>
                        </a:spcAft>
                      </a:pPr>
                      <a:endParaRPr lang="ru-RU" sz="1400" dirty="0" smtClean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  <a:p>
                      <a:pPr indent="448310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% от суммы поручительства за каждый год</a:t>
                      </a:r>
                      <a:r>
                        <a:rPr lang="ru-RU" sz="14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поручительства – для неторговых ОКВЭД</a:t>
                      </a:r>
                    </a:p>
                    <a:p>
                      <a:pPr marL="0" marR="0" indent="44831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,5% от суммы поручительства за каждый год</a:t>
                      </a:r>
                      <a:r>
                        <a:rPr lang="ru-RU" sz="14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поручительства – для торговых ОКВЭД</a:t>
                      </a:r>
                      <a:endParaRPr lang="ru-RU" sz="1400" dirty="0" smtClean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  <a:p>
                      <a:pPr indent="448310"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060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ть предоставления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Приравнивается</a:t>
                      </a:r>
                      <a:r>
                        <a:rPr lang="ru-RU" sz="14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к имущественному обеспечению по кредитным обязательствам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86" marR="55786" marT="8627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5949701" y="300345"/>
            <a:ext cx="3748161" cy="584775"/>
            <a:chOff x="2643868" y="3564851"/>
            <a:chExt cx="8477465" cy="1021658"/>
          </a:xfrm>
        </p:grpSpPr>
        <p:pic>
          <p:nvPicPr>
            <p:cNvPr id="10" name="Изображение 2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43868" y="3564851"/>
              <a:ext cx="1104900" cy="9525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1" name="TextBox 10"/>
            <p:cNvSpPr txBox="1"/>
            <p:nvPr/>
          </p:nvSpPr>
          <p:spPr>
            <a:xfrm>
              <a:off x="4048925" y="3564851"/>
              <a:ext cx="7072408" cy="1021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000" dirty="0" smtClean="0">
                  <a:solidFill>
                    <a:schemeClr val="accent3"/>
                  </a:solidFill>
                  <a:latin typeface="Arial Narrow" charset="0"/>
                  <a:ea typeface="Arial Narrow" charset="0"/>
                  <a:cs typeface="Arial Narrow" charset="0"/>
                </a:rPr>
                <a:t>МИКРОКРЕДИТНАЯ КОМПАНИЯ </a:t>
              </a:r>
            </a:p>
            <a:p>
              <a:pPr>
                <a:lnSpc>
                  <a:spcPct val="80000"/>
                </a:lnSpc>
              </a:pPr>
              <a:r>
                <a:rPr lang="ru-RU" sz="1000" dirty="0" smtClean="0">
                  <a:solidFill>
                    <a:schemeClr val="accent3"/>
                  </a:solidFill>
                  <a:latin typeface="Arial Narrow" charset="0"/>
                  <a:ea typeface="Arial Narrow" charset="0"/>
                  <a:cs typeface="Arial Narrow" charset="0"/>
                </a:rPr>
                <a:t>ГОСУДАРСТВЕННЫЙ ФОНД </a:t>
              </a:r>
            </a:p>
            <a:p>
              <a:pPr>
                <a:lnSpc>
                  <a:spcPct val="80000"/>
                </a:lnSpc>
              </a:pPr>
              <a:r>
                <a:rPr lang="ru-RU" sz="1000" dirty="0" smtClean="0">
                  <a:solidFill>
                    <a:schemeClr val="accent3"/>
                  </a:solidFill>
                  <a:latin typeface="Arial Narrow" charset="0"/>
                  <a:ea typeface="Arial Narrow" charset="0"/>
                  <a:cs typeface="Arial Narrow" charset="0"/>
                </a:rPr>
                <a:t>ПОДДЕРЖКИ МАЛОГО ПРЕДПРИНИМАТЕЛЬСТВА </a:t>
              </a:r>
            </a:p>
            <a:p>
              <a:pPr>
                <a:lnSpc>
                  <a:spcPct val="80000"/>
                </a:lnSpc>
              </a:pPr>
              <a:r>
                <a:rPr lang="ru-RU" sz="1000" dirty="0" smtClean="0">
                  <a:solidFill>
                    <a:schemeClr val="accent3"/>
                  </a:solidFill>
                  <a:latin typeface="Arial Narrow" charset="0"/>
                  <a:ea typeface="Arial Narrow" charset="0"/>
                  <a:cs typeface="Arial Narrow" charset="0"/>
                </a:rPr>
                <a:t>КЕМЕРОВСКОЙ ОБЛАСТИ </a:t>
              </a:r>
              <a:endParaRPr lang="ru-RU" sz="1000" dirty="0">
                <a:solidFill>
                  <a:schemeClr val="accent3"/>
                </a:solidFill>
                <a:latin typeface="Arial Narrow" charset="0"/>
                <a:ea typeface="Arial Narrow" charset="0"/>
                <a:cs typeface="Arial Narrow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4530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Тема Office">
  <a:themeElements>
    <a:clrScheme name="Цвет 8">
      <a:dk1>
        <a:srgbClr val="000000"/>
      </a:dk1>
      <a:lt1>
        <a:srgbClr val="FFFFFF"/>
      </a:lt1>
      <a:dk2>
        <a:srgbClr val="455F51"/>
      </a:dk2>
      <a:lt2>
        <a:srgbClr val="E3DED1"/>
      </a:lt2>
      <a:accent1>
        <a:srgbClr val="F59000"/>
      </a:accent1>
      <a:accent2>
        <a:srgbClr val="52C82C"/>
      </a:accent2>
      <a:accent3>
        <a:srgbClr val="266CA1"/>
      </a:accent3>
      <a:accent4>
        <a:srgbClr val="F9D813"/>
      </a:accent4>
      <a:accent5>
        <a:srgbClr val="24937D"/>
      </a:accent5>
      <a:accent6>
        <a:srgbClr val="3695AF"/>
      </a:accent6>
      <a:hlink>
        <a:srgbClr val="6B9F25"/>
      </a:hlink>
      <a:folHlink>
        <a:srgbClr val="BA6906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Базовая">
      <a: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48000">
              <a:schemeClr val="phClr">
                <a:tint val="54000"/>
                <a:satMod val="140000"/>
              </a:schemeClr>
            </a:gs>
            <a:gs pos="100000">
              <a:schemeClr val="phClr">
                <a:tint val="24000"/>
                <a:satMod val="260000"/>
              </a:schemeClr>
            </a:gs>
          </a:gsLst>
          <a:lin ang="16200000" scaled="1"/>
        </a:gradFill>
        <a:gradFill rotWithShape="1">
          <a:gsLst>
            <a:gs pos="0">
              <a:schemeClr val="phClr"/>
            </a:gs>
            <a:gs pos="100000">
              <a:schemeClr val="phClr">
                <a:shade val="48000"/>
                <a:satMod val="180000"/>
                <a:lumMod val="94000"/>
              </a:schemeClr>
            </a:gs>
            <a:gs pos="100000">
              <a:schemeClr val="phClr">
                <a:shade val="48000"/>
                <a:satMod val="180000"/>
                <a:lumMod val="94000"/>
              </a:schemeClr>
            </a:gs>
          </a:gsLst>
          <a:lin ang="4140000" scaled="1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12700" dir="5400000" sx="102000" sy="102000" rotWithShape="0">
              <a:srgbClr val="000000">
                <a:alpha val="32000"/>
              </a:srgbClr>
            </a:outerShdw>
          </a:effectLst>
        </a:effectStyle>
        <a:effectStyle>
          <a:effectLst>
            <a:outerShdw blurRad="762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glow" dir="tl">
              <a:rot lat="0" lon="0" rev="19800000"/>
            </a:lightRig>
          </a:scene3d>
          <a:sp3d prstMaterial="metal">
            <a:bevelT w="38100" h="38100"/>
          </a:sp3d>
        </a:effectStyle>
        <a:effectStyle>
          <a:effectLst>
            <a:outerShdw blurRad="114300" dist="114300" dir="5400000" rotWithShape="0">
              <a:srgbClr val="000000">
                <a:alpha val="7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plastic">
            <a:bevelT w="50800" h="508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45</TotalTime>
  <Words>1727</Words>
  <Application>Microsoft Office PowerPoint</Application>
  <PresentationFormat>Лист A4 (210x297 мм)</PresentationFormat>
  <Paragraphs>270</Paragraphs>
  <Slides>11</Slides>
  <Notes>1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2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Лих Анна Александровна</cp:lastModifiedBy>
  <cp:revision>667</cp:revision>
  <cp:lastPrinted>2018-06-09T10:34:34Z</cp:lastPrinted>
  <dcterms:created xsi:type="dcterms:W3CDTF">2016-07-27T07:40:44Z</dcterms:created>
  <dcterms:modified xsi:type="dcterms:W3CDTF">2019-03-14T06:02:42Z</dcterms:modified>
</cp:coreProperties>
</file>